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5"/>
    <p:sldMasterId id="2147483667" r:id="rId6"/>
    <p:sldMasterId id="2147483687" r:id="rId7"/>
  </p:sldMasterIdLst>
  <p:notesMasterIdLst>
    <p:notesMasterId r:id="rId26"/>
  </p:notesMasterIdLst>
  <p:sldIdLst>
    <p:sldId id="316" r:id="rId8"/>
    <p:sldId id="365" r:id="rId9"/>
    <p:sldId id="367" r:id="rId10"/>
    <p:sldId id="364" r:id="rId11"/>
    <p:sldId id="363" r:id="rId12"/>
    <p:sldId id="356" r:id="rId13"/>
    <p:sldId id="353" r:id="rId14"/>
    <p:sldId id="368" r:id="rId15"/>
    <p:sldId id="369" r:id="rId16"/>
    <p:sldId id="358" r:id="rId17"/>
    <p:sldId id="359" r:id="rId18"/>
    <p:sldId id="357" r:id="rId19"/>
    <p:sldId id="360" r:id="rId20"/>
    <p:sldId id="362" r:id="rId21"/>
    <p:sldId id="371" r:id="rId22"/>
    <p:sldId id="370" r:id="rId23"/>
    <p:sldId id="366" r:id="rId24"/>
    <p:sldId id="263" r:id="rId25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Старова Екатерина Владимировна" initials="ЕВ" lastIdx="39" clrIdx="1"/>
  <p:cmAuthor id="2" name="Рябенко Александр Евгеньевич" initials="РАЕ" lastIdx="3" clrIdx="2"/>
  <p:cmAuthor id="3" name="Бухгалтер Борис Львович" initials="ББЛ" lastIdx="5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52" autoAdjust="0"/>
    <p:restoredTop sz="99118" autoAdjust="0"/>
  </p:normalViewPr>
  <p:slideViewPr>
    <p:cSldViewPr snapToGrid="0">
      <p:cViewPr>
        <p:scale>
          <a:sx n="100" d="100"/>
          <a:sy n="100" d="100"/>
        </p:scale>
        <p:origin x="-72" y="-2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FF2E92-0850-4A39-A996-0CCE37BE3409}" type="datetimeFigureOut">
              <a:rPr lang="ru-RU" smtClean="0"/>
              <a:pPr/>
              <a:t>08.07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739EC7-EC23-4F54-AC87-5EC9F99A4E9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58428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1994832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67" y="5852569"/>
            <a:ext cx="1940252" cy="89268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68" y="357030"/>
            <a:ext cx="3426249" cy="2155123"/>
          </a:xfrm>
          <a:prstGeom prst="rect">
            <a:avLst/>
          </a:prstGeom>
        </p:spPr>
      </p:pic>
      <p:pic>
        <p:nvPicPr>
          <p:cNvPr id="8" name="Picture 1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01" t="49009" r="-1"/>
          <a:stretch/>
        </p:blipFill>
        <p:spPr bwMode="auto">
          <a:xfrm>
            <a:off x="6503989" y="3384220"/>
            <a:ext cx="5688012" cy="3473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" name="Текст 9"/>
          <p:cNvSpPr>
            <a:spLocks noGrp="1"/>
          </p:cNvSpPr>
          <p:nvPr>
            <p:ph type="body" sz="quarter" idx="10" hasCustomPrompt="1"/>
          </p:nvPr>
        </p:nvSpPr>
        <p:spPr>
          <a:xfrm>
            <a:off x="339865" y="4692315"/>
            <a:ext cx="3366002" cy="970297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ru-RU" dirty="0" smtClean="0"/>
              <a:t>ФИО</a:t>
            </a:r>
          </a:p>
          <a:p>
            <a:pPr lvl="0"/>
            <a:r>
              <a:rPr lang="ru-RU" dirty="0" smtClean="0"/>
              <a:t>Должность</a:t>
            </a:r>
          </a:p>
          <a:p>
            <a:pPr lvl="0"/>
            <a:r>
              <a:rPr lang="ru-RU" dirty="0" smtClean="0"/>
              <a:t>Дата </a:t>
            </a:r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154906" y="2815532"/>
            <a:ext cx="7900738" cy="898358"/>
          </a:xfrm>
        </p:spPr>
        <p:txBody>
          <a:bodyPr>
            <a:noAutofit/>
          </a:bodyPr>
          <a:lstStyle>
            <a:lvl1pPr>
              <a:defRPr lang="ru-RU" sz="5400" b="0" dirty="0">
                <a:solidFill>
                  <a:schemeClr val="bg1">
                    <a:lumMod val="50000"/>
                  </a:schemeClr>
                </a:solidFill>
                <a:latin typeface="Neo Sans Pro Medium" panose="020B0704030504040204" pitchFamily="34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111187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3748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417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наполнител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  <p:sp>
        <p:nvSpPr>
          <p:cNvPr id="4" name="Объект 4"/>
          <p:cNvSpPr>
            <a:spLocks noGrp="1"/>
          </p:cNvSpPr>
          <p:nvPr>
            <p:ph sz="quarter" idx="11"/>
          </p:nvPr>
        </p:nvSpPr>
        <p:spPr>
          <a:xfrm>
            <a:off x="118132" y="755532"/>
            <a:ext cx="11953552" cy="540873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118518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двумя наполнител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152400" y="797011"/>
            <a:ext cx="4362450" cy="537995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797011"/>
            <a:ext cx="7442533" cy="537995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9702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 bwMode="auto">
          <a:xfrm>
            <a:off x="2152652" y="3053359"/>
            <a:ext cx="788670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 defTabSz="1193860" rtl="0" eaLnBrk="1" fontAlgn="base" hangingPunct="1">
              <a:spcBef>
                <a:spcPct val="0"/>
              </a:spcBef>
              <a:spcAft>
                <a:spcPct val="0"/>
              </a:spcAft>
              <a:defRPr sz="6000" b="0">
                <a:solidFill>
                  <a:srgbClr val="7F7F7F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rgbClr val="7F7F7F"/>
                </a:solidFill>
                <a:latin typeface="Arial" pitchFamily="34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rgbClr val="7F7F7F"/>
                </a:solidFill>
                <a:latin typeface="Arial" pitchFamily="34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rgbClr val="7F7F7F"/>
                </a:solidFill>
                <a:latin typeface="Arial" pitchFamily="34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rgbClr val="7F7F7F"/>
                </a:solidFill>
                <a:latin typeface="Arial" pitchFamily="34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1"/>
                </a:solidFill>
                <a:latin typeface="Arial" pitchFamily="34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1"/>
                </a:solidFill>
                <a:latin typeface="Arial" pitchFamily="34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1"/>
                </a:solidFill>
                <a:latin typeface="Arial" pitchFamily="34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kern="0" dirty="0" smtClean="0"/>
              <a:t>Приложение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791219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03"/>
            <a:ext cx="12192000" cy="685239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879601" y="1214438"/>
            <a:ext cx="4914900" cy="2387600"/>
          </a:xfrm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794500" y="3894138"/>
            <a:ext cx="5397500" cy="232849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95000"/>
                  </a:schemeClr>
                </a:solidFill>
                <a:latin typeface="PragmaticaLightC" panose="04000500000000000000" pitchFamily="8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ru-RU" smtClean="0"/>
              <a:t>Дат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ru-RU" dirty="0" smtClean="0"/>
              <a:t>Город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558343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03"/>
            <a:ext cx="12192000" cy="685239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60499" y="365125"/>
            <a:ext cx="6184900" cy="132556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Дата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53068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03"/>
            <a:ext cx="12192000" cy="685239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8502651" cy="1033462"/>
          </a:xfrm>
        </p:spPr>
        <p:txBody>
          <a:bodyPr anchor="b"/>
          <a:lstStyle>
            <a:lvl1pPr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2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Дата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6350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03"/>
            <a:ext cx="12192000" cy="685239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3200" y="366340"/>
            <a:ext cx="6223001" cy="132556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Дата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83746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03"/>
            <a:ext cx="12192000" cy="685239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60500" y="365125"/>
            <a:ext cx="6134100" cy="132556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PragmaticaC" pitchFamily="8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65000"/>
                    <a:lumOff val="35000"/>
                  </a:schemeClr>
                </a:solidFill>
                <a:latin typeface="PragmaticaC" pitchFamily="8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2" y="2505076"/>
            <a:ext cx="5183188" cy="3684588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Дата</a:t>
            </a:r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07522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03"/>
            <a:ext cx="12192000" cy="685239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60501" y="365125"/>
            <a:ext cx="6972300" cy="1325563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Дата</a:t>
            </a: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94121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03"/>
            <a:ext cx="12192000" cy="6852394"/>
          </a:xfrm>
          <a:prstGeom prst="rect">
            <a:avLst/>
          </a:prstGeom>
        </p:spPr>
      </p:pic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Дат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57933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68" y="357030"/>
            <a:ext cx="3426249" cy="2155123"/>
          </a:xfrm>
          <a:prstGeom prst="rect">
            <a:avLst/>
          </a:prstGeom>
        </p:spPr>
      </p:pic>
      <p:pic>
        <p:nvPicPr>
          <p:cNvPr id="8" name="Picture 1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01" t="49009" r="-1"/>
          <a:stretch/>
        </p:blipFill>
        <p:spPr bwMode="auto">
          <a:xfrm>
            <a:off x="6503989" y="3384220"/>
            <a:ext cx="5688012" cy="3473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" name="Текст 9"/>
          <p:cNvSpPr>
            <a:spLocks noGrp="1"/>
          </p:cNvSpPr>
          <p:nvPr>
            <p:ph type="body" sz="quarter" idx="10" hasCustomPrompt="1"/>
          </p:nvPr>
        </p:nvSpPr>
        <p:spPr>
          <a:xfrm>
            <a:off x="339865" y="4692315"/>
            <a:ext cx="3366002" cy="970297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ru-RU" dirty="0" smtClean="0"/>
              <a:t>ФИО</a:t>
            </a:r>
          </a:p>
          <a:p>
            <a:pPr lvl="0"/>
            <a:r>
              <a:rPr lang="ru-RU" dirty="0" smtClean="0"/>
              <a:t>Должность</a:t>
            </a:r>
          </a:p>
          <a:p>
            <a:pPr lvl="0"/>
            <a:r>
              <a:rPr lang="ru-RU" dirty="0" smtClean="0"/>
              <a:t>Дата </a:t>
            </a:r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4154906" y="2815532"/>
            <a:ext cx="7900738" cy="898358"/>
          </a:xfrm>
        </p:spPr>
        <p:txBody>
          <a:bodyPr>
            <a:noAutofit/>
          </a:bodyPr>
          <a:lstStyle>
            <a:lvl1pPr>
              <a:defRPr lang="ru-RU" sz="5400" b="0" baseline="0" dirty="0">
                <a:solidFill>
                  <a:schemeClr val="bg1">
                    <a:lumMod val="50000"/>
                  </a:schemeClr>
                </a:solidFill>
                <a:latin typeface="Neo Sans Pro Medium" panose="020B0704030504040204" pitchFamily="34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67" y="5852569"/>
            <a:ext cx="1940252" cy="89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16899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03"/>
            <a:ext cx="12192000" cy="685239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3200" y="457200"/>
            <a:ext cx="3709988" cy="1600200"/>
          </a:xfrm>
        </p:spPr>
        <p:txBody>
          <a:bodyPr anchor="b"/>
          <a:lstStyle>
            <a:lvl1pPr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>
              <a:defRPr sz="3200"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1pPr>
            <a:lvl2pPr>
              <a:defRPr sz="2800"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2pPr>
            <a:lvl3pPr>
              <a:defRPr sz="2400"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3pPr>
            <a:lvl4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4pPr>
            <a:lvl5pPr>
              <a:defRPr sz="2000"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4343401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PragmaticaC" pitchFamily="8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Дата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47567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803"/>
            <a:ext cx="12192000" cy="6852394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60500" y="457200"/>
            <a:ext cx="3722688" cy="1600200"/>
          </a:xfrm>
        </p:spPr>
        <p:txBody>
          <a:bodyPr anchor="b"/>
          <a:lstStyle>
            <a:lvl1pPr>
              <a:defRPr sz="3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>
                    <a:lumMod val="65000"/>
                    <a:lumOff val="35000"/>
                  </a:schemeClr>
                </a:solidFill>
                <a:latin typeface="PragmaticaLightC" panose="04000500000000000000" pitchFamily="8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4343401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PragmaticaC" pitchFamily="82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Дата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49700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2394"/>
          </a:xfrm>
          <a:prstGeom prst="rect">
            <a:avLst/>
          </a:prstGeom>
        </p:spPr>
      </p:pic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 smtClean="0"/>
              <a:t>Дата</a:t>
            </a:r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1727201" y="965200"/>
            <a:ext cx="5930900" cy="660400"/>
          </a:xfrm>
        </p:spPr>
        <p:txBody>
          <a:bodyPr anchor="b"/>
          <a:lstStyle>
            <a:lvl1pPr>
              <a:defRPr sz="32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Текст 3"/>
          <p:cNvSpPr>
            <a:spLocks noGrp="1"/>
          </p:cNvSpPr>
          <p:nvPr>
            <p:ph type="body" sz="half" idx="2"/>
          </p:nvPr>
        </p:nvSpPr>
        <p:spPr>
          <a:xfrm>
            <a:off x="1727200" y="1905000"/>
            <a:ext cx="4660900" cy="1917700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>
                    <a:lumMod val="85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9467852" y="4127500"/>
            <a:ext cx="2095500" cy="1663700"/>
          </a:xfrm>
        </p:spPr>
        <p:txBody>
          <a:bodyPr>
            <a:normAutofit/>
          </a:bodyPr>
          <a:lstStyle>
            <a:lvl1pPr marL="0" indent="0" algn="r">
              <a:spcBef>
                <a:spcPts val="600"/>
              </a:spcBef>
              <a:buNone/>
              <a:defRPr sz="800" b="0">
                <a:solidFill>
                  <a:schemeClr val="bg1">
                    <a:lumMod val="85000"/>
                  </a:schemeClr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 smtClean="0"/>
              <a:t>Генеральный директор</a:t>
            </a:r>
          </a:p>
          <a:p>
            <a:pPr lvl="0"/>
            <a:r>
              <a:rPr lang="ru-RU" dirty="0" err="1" smtClean="0"/>
              <a:t>Шанаурин</a:t>
            </a:r>
            <a:r>
              <a:rPr lang="ru-RU" dirty="0" smtClean="0"/>
              <a:t> Дмитрий Геннадьевич</a:t>
            </a:r>
          </a:p>
          <a:p>
            <a:pPr lvl="0"/>
            <a:endParaRPr lang="ru-RU" dirty="0" smtClean="0"/>
          </a:p>
          <a:p>
            <a:pPr lvl="0"/>
            <a:r>
              <a:rPr lang="ru-RU" dirty="0" smtClean="0"/>
              <a:t>115522, Москва,</a:t>
            </a:r>
          </a:p>
          <a:p>
            <a:pPr lvl="0"/>
            <a:r>
              <a:rPr lang="ru-RU" dirty="0" smtClean="0"/>
              <a:t>ул. Москворечье, д. 4, корп. 3</a:t>
            </a:r>
          </a:p>
          <a:p>
            <a:pPr lvl="0"/>
            <a:r>
              <a:rPr lang="ru-RU" dirty="0" smtClean="0"/>
              <a:t>тел: +7 (495) 545 34 21</a:t>
            </a:r>
          </a:p>
          <a:p>
            <a:pPr lvl="0"/>
            <a:r>
              <a:rPr lang="en-US" dirty="0" smtClean="0"/>
              <a:t>shaneco.group@shaneco.ru</a:t>
            </a:r>
            <a:endParaRPr lang="ru-RU" dirty="0" smtClean="0"/>
          </a:p>
          <a:p>
            <a:pPr lvl="0"/>
            <a:r>
              <a:rPr lang="en-US" dirty="0" smtClean="0"/>
              <a:t>www.shaneco.ru</a:t>
            </a:r>
            <a:endParaRPr lang="ru-RU" dirty="0" smtClean="0"/>
          </a:p>
        </p:txBody>
      </p:sp>
      <p:sp>
        <p:nvSpPr>
          <p:cNvPr id="11" name="Текст 3"/>
          <p:cNvSpPr>
            <a:spLocks noGrp="1"/>
          </p:cNvSpPr>
          <p:nvPr>
            <p:ph type="body" sz="half" idx="14" hasCustomPrompt="1"/>
          </p:nvPr>
        </p:nvSpPr>
        <p:spPr>
          <a:xfrm>
            <a:off x="9467852" y="3718298"/>
            <a:ext cx="2095500" cy="409203"/>
          </a:xfrm>
        </p:spPr>
        <p:txBody>
          <a:bodyPr>
            <a:normAutofit/>
          </a:bodyPr>
          <a:lstStyle>
            <a:lvl1pPr marL="0" indent="0" algn="r">
              <a:spcBef>
                <a:spcPts val="600"/>
              </a:spcBef>
              <a:buNone/>
              <a:defRPr sz="8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dirty="0" smtClean="0"/>
              <a:t>Центральный офис</a:t>
            </a:r>
          </a:p>
          <a:p>
            <a:pPr lvl="0"/>
            <a:r>
              <a:rPr lang="ru-RU" dirty="0" smtClean="0"/>
              <a:t>АО «ГК ШАНЭКО»</a:t>
            </a:r>
          </a:p>
          <a:p>
            <a:pPr lvl="0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3185496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714748" y="6531889"/>
            <a:ext cx="477253" cy="160254"/>
          </a:xfrm>
        </p:spPr>
        <p:txBody>
          <a:bodyPr/>
          <a:lstStyle/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14233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73" userDrawn="1">
          <p15:clr>
            <a:srgbClr val="FBAE40"/>
          </p15:clr>
        </p15:guide>
        <p15:guide id="2" pos="7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наполнител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  <p:sp>
        <p:nvSpPr>
          <p:cNvPr id="4" name="Объект 4"/>
          <p:cNvSpPr>
            <a:spLocks noGrp="1"/>
          </p:cNvSpPr>
          <p:nvPr>
            <p:ph sz="quarter" idx="11"/>
          </p:nvPr>
        </p:nvSpPr>
        <p:spPr>
          <a:xfrm>
            <a:off x="118132" y="755532"/>
            <a:ext cx="11953552" cy="540873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1293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двумя наполнител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152400" y="797011"/>
            <a:ext cx="4362450" cy="537995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797011"/>
            <a:ext cx="7442533" cy="537995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5119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 bwMode="auto">
          <a:xfrm>
            <a:off x="2152652" y="3053359"/>
            <a:ext cx="788670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 defTabSz="1193860" rtl="0" eaLnBrk="1" fontAlgn="base" hangingPunct="1">
              <a:spcBef>
                <a:spcPct val="0"/>
              </a:spcBef>
              <a:spcAft>
                <a:spcPct val="0"/>
              </a:spcAft>
              <a:defRPr sz="6000" b="0">
                <a:solidFill>
                  <a:srgbClr val="7F7F7F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rgbClr val="7F7F7F"/>
                </a:solidFill>
                <a:latin typeface="Arial" pitchFamily="34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rgbClr val="7F7F7F"/>
                </a:solidFill>
                <a:latin typeface="Arial" pitchFamily="34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rgbClr val="7F7F7F"/>
                </a:solidFill>
                <a:latin typeface="Arial" pitchFamily="34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rgbClr val="7F7F7F"/>
                </a:solidFill>
                <a:latin typeface="Arial" pitchFamily="34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1"/>
                </a:solidFill>
                <a:latin typeface="Arial" pitchFamily="34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1"/>
                </a:solidFill>
                <a:latin typeface="Arial" pitchFamily="34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1"/>
                </a:solidFill>
                <a:latin typeface="Arial" pitchFamily="34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kern="0" dirty="0" smtClean="0"/>
              <a:t>Приложение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792167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599384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67" y="5852569"/>
            <a:ext cx="1940252" cy="89268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68" y="357030"/>
            <a:ext cx="3426249" cy="2155123"/>
          </a:xfrm>
          <a:prstGeom prst="rect">
            <a:avLst/>
          </a:prstGeom>
        </p:spPr>
      </p:pic>
      <p:pic>
        <p:nvPicPr>
          <p:cNvPr id="8" name="Picture 1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01" t="49009" r="-1"/>
          <a:stretch/>
        </p:blipFill>
        <p:spPr bwMode="auto">
          <a:xfrm>
            <a:off x="6503989" y="3384220"/>
            <a:ext cx="5688012" cy="3473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" name="Текст 9"/>
          <p:cNvSpPr>
            <a:spLocks noGrp="1"/>
          </p:cNvSpPr>
          <p:nvPr>
            <p:ph type="body" sz="quarter" idx="10" hasCustomPrompt="1"/>
          </p:nvPr>
        </p:nvSpPr>
        <p:spPr>
          <a:xfrm>
            <a:off x="339865" y="4692315"/>
            <a:ext cx="3366002" cy="970297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ru-RU" dirty="0" smtClean="0"/>
              <a:t>ФИО</a:t>
            </a:r>
          </a:p>
          <a:p>
            <a:pPr lvl="0"/>
            <a:r>
              <a:rPr lang="ru-RU" dirty="0" smtClean="0"/>
              <a:t>Должность</a:t>
            </a:r>
          </a:p>
          <a:p>
            <a:pPr lvl="0"/>
            <a:r>
              <a:rPr lang="ru-RU" dirty="0" smtClean="0"/>
              <a:t>Дата </a:t>
            </a:r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154906" y="2815532"/>
            <a:ext cx="7900738" cy="898358"/>
          </a:xfrm>
        </p:spPr>
        <p:txBody>
          <a:bodyPr>
            <a:noAutofit/>
          </a:bodyPr>
          <a:lstStyle>
            <a:lvl1pPr>
              <a:defRPr lang="ru-RU" sz="5400" b="0" dirty="0">
                <a:solidFill>
                  <a:schemeClr val="bg1">
                    <a:lumMod val="50000"/>
                  </a:schemeClr>
                </a:solidFill>
                <a:latin typeface="Neo Sans Pro Medium" panose="020B0704030504040204" pitchFamily="34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43118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3748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4178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68" y="357030"/>
            <a:ext cx="3426249" cy="2155123"/>
          </a:xfrm>
          <a:prstGeom prst="rect">
            <a:avLst/>
          </a:prstGeom>
        </p:spPr>
      </p:pic>
      <p:pic>
        <p:nvPicPr>
          <p:cNvPr id="8" name="Picture 1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01" t="49009" r="-1"/>
          <a:stretch/>
        </p:blipFill>
        <p:spPr bwMode="auto">
          <a:xfrm>
            <a:off x="6503989" y="3384220"/>
            <a:ext cx="5688012" cy="3473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" name="Текст 9"/>
          <p:cNvSpPr>
            <a:spLocks noGrp="1"/>
          </p:cNvSpPr>
          <p:nvPr>
            <p:ph type="body" sz="quarter" idx="10" hasCustomPrompt="1"/>
          </p:nvPr>
        </p:nvSpPr>
        <p:spPr>
          <a:xfrm>
            <a:off x="339865" y="4692315"/>
            <a:ext cx="3366002" cy="970297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ru-RU" dirty="0" smtClean="0"/>
              <a:t>ФИО</a:t>
            </a:r>
          </a:p>
          <a:p>
            <a:pPr lvl="0"/>
            <a:r>
              <a:rPr lang="ru-RU" dirty="0" smtClean="0"/>
              <a:t>Должность</a:t>
            </a:r>
          </a:p>
          <a:p>
            <a:pPr lvl="0"/>
            <a:r>
              <a:rPr lang="ru-RU" dirty="0" smtClean="0"/>
              <a:t>Дата </a:t>
            </a:r>
            <a:endParaRPr lang="ru-RU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4154906" y="2815532"/>
            <a:ext cx="7900738" cy="898358"/>
          </a:xfrm>
        </p:spPr>
        <p:txBody>
          <a:bodyPr>
            <a:noAutofit/>
          </a:bodyPr>
          <a:lstStyle>
            <a:lvl1pPr>
              <a:defRPr lang="ru-RU" sz="5400" b="0" baseline="0" dirty="0">
                <a:solidFill>
                  <a:schemeClr val="bg1">
                    <a:lumMod val="50000"/>
                  </a:schemeClr>
                </a:solidFill>
                <a:latin typeface="Neo Sans Pro Medium" panose="020B0704030504040204" pitchFamily="34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67" y="5852569"/>
            <a:ext cx="1940252" cy="89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71218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2160">
          <p15:clr>
            <a:srgbClr val="FBAE40"/>
          </p15:clr>
        </p15:guide>
        <p15:guide id="2" pos="27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714748" y="6531889"/>
            <a:ext cx="477253" cy="160254"/>
          </a:xfrm>
        </p:spPr>
        <p:txBody>
          <a:bodyPr/>
          <a:lstStyle/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471709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73" userDrawn="1">
          <p15:clr>
            <a:srgbClr val="FBAE40"/>
          </p15:clr>
        </p15:guide>
        <p15:guide id="2" pos="7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378884304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2356945" y="71438"/>
            <a:ext cx="9714740" cy="3693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714748" y="6446164"/>
            <a:ext cx="477253" cy="1602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25" y="94205"/>
            <a:ext cx="1500864" cy="50394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77" b="9147"/>
          <a:stretch/>
        </p:blipFill>
        <p:spPr>
          <a:xfrm>
            <a:off x="119226" y="6327458"/>
            <a:ext cx="1088916" cy="397669"/>
          </a:xfrm>
          <a:prstGeom prst="rect">
            <a:avLst/>
          </a:prstGeom>
        </p:spPr>
      </p:pic>
      <p:sp>
        <p:nvSpPr>
          <p:cNvPr id="14" name="Текст 2"/>
          <p:cNvSpPr>
            <a:spLocks noGrp="1"/>
          </p:cNvSpPr>
          <p:nvPr>
            <p:ph type="body" idx="1"/>
          </p:nvPr>
        </p:nvSpPr>
        <p:spPr>
          <a:xfrm>
            <a:off x="119227" y="755532"/>
            <a:ext cx="11953550" cy="5414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2775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4110" userDrawn="1">
          <p15:clr>
            <a:srgbClr val="F26B43"/>
          </p15:clr>
        </p15:guide>
        <p15:guide id="2" pos="7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5282614"/>
              </p:ext>
            </p:ext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2356945" y="71438"/>
            <a:ext cx="9714740" cy="3693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714748" y="6446164"/>
            <a:ext cx="477253" cy="1602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25" y="94205"/>
            <a:ext cx="1500864" cy="50394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77" b="9147"/>
          <a:stretch/>
        </p:blipFill>
        <p:spPr>
          <a:xfrm>
            <a:off x="119226" y="6327458"/>
            <a:ext cx="1088916" cy="397669"/>
          </a:xfrm>
          <a:prstGeom prst="rect">
            <a:avLst/>
          </a:prstGeom>
        </p:spPr>
      </p:pic>
      <p:sp>
        <p:nvSpPr>
          <p:cNvPr id="14" name="Текст 2"/>
          <p:cNvSpPr>
            <a:spLocks noGrp="1"/>
          </p:cNvSpPr>
          <p:nvPr>
            <p:ph type="body" idx="1"/>
          </p:nvPr>
        </p:nvSpPr>
        <p:spPr>
          <a:xfrm>
            <a:off x="119227" y="755532"/>
            <a:ext cx="11953550" cy="5414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5133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4110" userDrawn="1">
          <p15:clr>
            <a:srgbClr val="F26B43"/>
          </p15:clr>
        </p15:guide>
        <p15:guide id="2" pos="7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2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Дата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2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AC2713-A3E6-4FBC-9C90-426149C1B7A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37738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.jpeg"/><Relationship Id="rId5" Type="http://schemas.openxmlformats.org/officeDocument/2006/relationships/image" Target="../media/image13.jpeg"/><Relationship Id="rId4" Type="http://schemas.openxmlformats.org/officeDocument/2006/relationships/image" Target="../media/image12.jpeg"/><Relationship Id="rId9" Type="http://schemas.openxmlformats.org/officeDocument/2006/relationships/image" Target="../media/image17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146679" y="705507"/>
            <a:ext cx="10909409" cy="2442980"/>
          </a:xfrm>
        </p:spPr>
        <p:txBody>
          <a:bodyPr>
            <a:noAutofit/>
          </a:bodyPr>
          <a:lstStyle/>
          <a:p>
            <a:pPr algn="l"/>
            <a:r>
              <a:rPr lang="ru-RU" sz="3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7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еты на </a:t>
            </a:r>
            <a:r>
              <a:rPr lang="ru-RU" sz="3700" b="1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ижайшее </a:t>
            </a:r>
            <a:r>
              <a:rPr lang="ru-RU" sz="37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37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7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дущее</a:t>
            </a:r>
            <a:endParaRPr lang="ru-RU" sz="37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248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7873" y="676901"/>
            <a:ext cx="5861094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ерспективы трудоустройства: проектный бизнес и консалтинг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10</a:t>
            </a:fld>
            <a:endParaRPr lang="ru-RU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960791"/>
              </p:ext>
            </p:extLst>
          </p:nvPr>
        </p:nvGraphicFramePr>
        <p:xfrm>
          <a:off x="250701" y="1717193"/>
          <a:ext cx="11838381" cy="46645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40249"/>
                <a:gridCol w="4046764"/>
                <a:gridCol w="4251368"/>
              </a:tblGrid>
              <a:tr h="583967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ециализация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можности трудоустройства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мечания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583967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тография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ые и изыскательские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рганизации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следования ОВОС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салтинг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перспективе: экспертиза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83967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еорология и климатология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 же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перспективе: экспертиза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обые возможности: деятельность в области оценки климатических изменений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788750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зическая география/ландшафтоведение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 же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правление ОВОС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перспективе: управление ПИР, экспертиза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8396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оморфология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ые и изыскательские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рганизации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следования ОВОС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перспективе: экспертиза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7049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7873" y="676901"/>
            <a:ext cx="5861094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пециализации и перспективы трудоустройства проектный бизнес и консалтинг (2)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11</a:t>
            </a:fld>
            <a:endParaRPr lang="ru-RU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1636773"/>
              </p:ext>
            </p:extLst>
          </p:nvPr>
        </p:nvGraphicFramePr>
        <p:xfrm>
          <a:off x="250701" y="1717193"/>
          <a:ext cx="11838381" cy="50363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91263"/>
                <a:gridCol w="4322618"/>
                <a:gridCol w="4524500"/>
              </a:tblGrid>
              <a:tr h="583967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ециализация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можности трудоустройства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мечания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583967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идрология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ектные и изыскательские</a:t>
                      </a: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рганизации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следования ОВОС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салтинг</a:t>
                      </a:r>
                      <a:endParaRPr lang="ru-RU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перспективе: экспертиза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обые возможности: деятельность в области оценки климатических изменений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428977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ляциология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 же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 же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83967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оогеография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 же</a:t>
                      </a: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обые возможности: деятельность в области развития ООПТ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83967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оботаника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 же</a:t>
                      </a: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обые возможности: деятельность в области развития ООПТ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83967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еохимия почв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 же</a:t>
                      </a: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перспективе: экспертиза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83967">
                <a:tc>
                  <a:txBody>
                    <a:bodyPr/>
                    <a:lstStyle/>
                    <a:p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ономическая география</a:t>
                      </a:r>
                    </a:p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Tx/>
                        <a:buChar char="-"/>
                      </a:pP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следования ОВОС</a:t>
                      </a:r>
                    </a:p>
                    <a:p>
                      <a:pPr marL="285750" indent="-285750">
                        <a:buFontTx/>
                        <a:buChar char="-"/>
                      </a:pPr>
                      <a:r>
                        <a:rPr lang="ru-RU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салтинг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обые возможности: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ая и медицинская география</a:t>
                      </a:r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5969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9748" y="676901"/>
            <a:ext cx="5861094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требности рынка труда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12</a:t>
            </a:fld>
            <a:endParaRPr lang="ru-RU"/>
          </a:p>
        </p:txBody>
      </p:sp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702974" y="1676301"/>
            <a:ext cx="11079812" cy="56630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5" tIns="45708" rIns="91415" bIns="45708">
            <a:spAutoFit/>
          </a:bodyPr>
          <a:lstStyle/>
          <a:p>
            <a:pPr marL="338328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Знания – далеко не единственное требование</a:t>
            </a:r>
          </a:p>
          <a:p>
            <a:pPr marL="338328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Большинство работодателей приветствуют и стимулируют:</a:t>
            </a: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обучаемость и развитие навыков (непрерывное обучение)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петентность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широкий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кругозор</a:t>
            </a: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муникабельность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мобильность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ь работы в многозадачном режиме </a:t>
            </a: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адаптивные качества (работа в большом коллективе над масштабными задачами)</a:t>
            </a: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08" indent="-342808">
              <a:buFont typeface="Wingdings" pitchFamily="2" charset="2"/>
              <a:buChar char="Ø"/>
            </a:pPr>
            <a:endParaRPr lang="ru-RU" altLang="ru-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53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9748" y="676901"/>
            <a:ext cx="5861094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собенности текущего момента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13</a:t>
            </a:fld>
            <a:endParaRPr lang="ru-RU"/>
          </a:p>
        </p:txBody>
      </p:sp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702974" y="1676301"/>
            <a:ext cx="11079812" cy="5539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5" tIns="45708" rIns="91415" bIns="45708">
            <a:spAutoFit/>
          </a:bodyPr>
          <a:lstStyle/>
          <a:p>
            <a:pPr marL="338328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«Верхи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не могут, низы не хотят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»: проблема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рынка труда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- есть спрос и предложение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, но они находятся в разных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«плоскостях»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Как решать кадровую проблему применительно к проектному бизнесу и консалтингу: </a:t>
            </a: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информирование и консультации</a:t>
            </a: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параллельное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обучение (общая стажировка, целевая подготовка,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гарантии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трудоустройства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дополнительное образование и повышение квалификации</a:t>
            </a:r>
          </a:p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Риски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и возможности текущего момента</a:t>
            </a:r>
          </a:p>
          <a:p>
            <a:pPr marL="338328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08" indent="-342808">
              <a:buFont typeface="Wingdings" pitchFamily="2" charset="2"/>
              <a:buChar char="Ø"/>
            </a:pPr>
            <a:endParaRPr lang="ru-RU" altLang="ru-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57041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04975" y="676901"/>
            <a:ext cx="6657975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ухой остаток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отивация 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людей, выбирающих профессию 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еографа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14</a:t>
            </a:fld>
            <a:endParaRPr lang="ru-RU"/>
          </a:p>
        </p:txBody>
      </p:sp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702974" y="1676301"/>
            <a:ext cx="11079812" cy="1354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5" tIns="45708" rIns="91415" bIns="45708">
            <a:spAutoFit/>
          </a:bodyPr>
          <a:lstStyle/>
          <a:p>
            <a:pPr marL="338328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08" indent="-342808">
              <a:buFont typeface="Wingdings" pitchFamily="2" charset="2"/>
              <a:buChar char="Ø"/>
            </a:pPr>
            <a:endParaRPr lang="ru-RU" altLang="ru-RU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02974" y="1676301"/>
            <a:ext cx="10697338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Наш опыт показывает, что основной мотив –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«тяга к перемене мест»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того, чтобы путешествовать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ужны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ричина (желание увидеть что-то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тоже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ричина, однако лучше было бы иметь что-то более основательное) и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материальное обеспечение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Есть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люди, которые делают сами путешествия источником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отока средств,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однако мы не из их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числа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аша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абота создает много веских причин для путешествий, а результаты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экспедиций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 исследований важны для их заказчиков и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есомо оплачиваются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Мы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видим не только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красоты мира,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но и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кладываем усилия для того,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чтобы эта красота не была утрачена</a:t>
            </a:r>
          </a:p>
        </p:txBody>
      </p:sp>
    </p:spTree>
    <p:extLst>
      <p:ext uri="{BB962C8B-B14F-4D97-AF65-F5344CB8AC3E}">
        <p14:creationId xmlns:p14="http://schemas.microsoft.com/office/powerpoint/2010/main" val="419331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9748" y="676901"/>
            <a:ext cx="5861094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ухой остаток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каких областях 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ить усилия?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15</a:t>
            </a:fld>
            <a:endParaRPr lang="ru-RU"/>
          </a:p>
        </p:txBody>
      </p:sp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702974" y="1676301"/>
            <a:ext cx="11079812" cy="13541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5" tIns="45708" rIns="91415" bIns="45708">
            <a:spAutoFit/>
          </a:bodyPr>
          <a:lstStyle/>
          <a:p>
            <a:pPr marL="338328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08" indent="-342808">
              <a:buFont typeface="Wingdings" pitchFamily="2" charset="2"/>
              <a:buChar char="Ø"/>
            </a:pPr>
            <a:endParaRPr lang="ru-RU" altLang="ru-RU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02973" y="1776627"/>
            <a:ext cx="11374231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реди выпускников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нашего курса: ученые (с 2022 г. даже член-корреспондент РАН),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эт, режиссер,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журналисты,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священник, координатор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«Гринпис», преподаватели, предприниматели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Советуем «не уходить»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от географической специализации и пытаться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эффективно использовать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олученные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знания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навыки, расширяя компетенции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ые области трудоустройства: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 сфере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«экологии»,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ключая работу в заповедниках, иных бюджетных организациях подобного типа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образование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сех уровней, включая работу на факультете и на других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естественнонаучных факультетах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области охраны окружающей среды на производствах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и в бизнес-сфере</a:t>
            </a:r>
          </a:p>
          <a:p>
            <a:pPr marL="800100" lvl="1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«экологический» бизнес -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ОВОС, разработки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SG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программ, оценки воздействия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климат, в том числе – оценки выбросов парниковых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газов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ГК ШАНЭКО – один из лидеров «экологического» бизнеса, призываем обратить 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внимание на эту сферу 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трудоустройства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6027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9748" y="676901"/>
            <a:ext cx="5861094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Что можем предложить?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16</a:t>
            </a:fld>
            <a:endParaRPr lang="ru-RU"/>
          </a:p>
        </p:txBody>
      </p:sp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702974" y="1676301"/>
            <a:ext cx="11079812" cy="3970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5" tIns="45708" rIns="91415" bIns="45708">
            <a:spAutoFit/>
          </a:bodyPr>
          <a:lstStyle/>
          <a:p>
            <a:pPr marL="338328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Консультацию по вопросам трудоустройства в компании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Рекомендации по самостоятельной подготовке по выбранному направлению</a:t>
            </a:r>
          </a:p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енная практика</a:t>
            </a:r>
          </a:p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Ваши предложения?</a:t>
            </a:r>
          </a:p>
          <a:p>
            <a:pPr marL="338328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08" indent="-342808">
              <a:buFont typeface="Wingdings" pitchFamily="2" charset="2"/>
              <a:buChar char="Ø"/>
            </a:pPr>
            <a:endParaRPr lang="ru-RU" altLang="ru-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05264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717481" y="6321765"/>
            <a:ext cx="2743200" cy="365125"/>
          </a:xfrm>
        </p:spPr>
        <p:txBody>
          <a:bodyPr/>
          <a:lstStyle/>
          <a:p>
            <a:fld id="{43AC2713-A3E6-4FBC-9C90-426149C1B7A6}" type="slidenum">
              <a:rPr lang="ru-RU" smtClean="0"/>
              <a:pPr/>
              <a:t>17</a:t>
            </a:fld>
            <a:endParaRPr lang="ru-RU"/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4421" y="626303"/>
            <a:ext cx="10142415" cy="610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0132" y="1993105"/>
            <a:ext cx="3774821" cy="2704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1" descr="D:\МОИ ДОКУМЕНТЫ\КОНТРАКТЫ - 2013\Материалы для ОТЧЕТОВ по Эвенкии\Отчет (2 этап)\Фото (Чечеткин)\Фото (Подкаменная Тунгуска)\WP_20130728_006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1016" y="930127"/>
            <a:ext cx="3060700" cy="1673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2" descr="\\Chechetkinva\сетевая\ГАЗ ШАНЭКО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5312" y="4019699"/>
            <a:ext cx="2566988" cy="182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37781" y="2321098"/>
            <a:ext cx="1958975" cy="2409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9252" y="2369651"/>
            <a:ext cx="2528912" cy="1823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4028" y="930127"/>
            <a:ext cx="2566988" cy="1673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5758" y="4019699"/>
            <a:ext cx="2483211" cy="182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655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4289" y="2574989"/>
            <a:ext cx="10348111" cy="1325563"/>
          </a:xfrm>
        </p:spPr>
        <p:txBody>
          <a:bodyPr>
            <a:noAutofit/>
          </a:bodyPr>
          <a:lstStyle/>
          <a:p>
            <a:pPr algn="ctr"/>
            <a:r>
              <a:rPr lang="ru-RU" sz="4000" b="1" dirty="0" smtClean="0">
                <a:latin typeface="Arial" pitchFamily="34" charset="0"/>
                <a:cs typeface="Arial" pitchFamily="34" charset="0"/>
              </a:rPr>
              <a:t>СПАСИБО ЗА ВНИМАНИЕ!</a:t>
            </a:r>
            <a:endParaRPr lang="ru-RU" sz="4000" b="1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564525" y="4619412"/>
            <a:ext cx="3342132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ctr"/>
            <a:r>
              <a:rPr lang="ru-RU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</a:t>
            </a:r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ГК ШАНЭКО» </a:t>
            </a:r>
          </a:p>
          <a:p>
            <a:pPr lvl="0" algn="ctr"/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л</a:t>
            </a:r>
            <a:r>
              <a:rPr lang="ru-RU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/факс +7 </a:t>
            </a:r>
            <a:r>
              <a:rPr lang="ru-RU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95) </a:t>
            </a:r>
            <a:r>
              <a:rPr lang="ru-RU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45-34-21 </a:t>
            </a:r>
            <a:endParaRPr lang="en-US" dirty="0" smtClean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shaneco.ru</a:t>
            </a:r>
            <a:endParaRPr lang="ru-RU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/>
            <a:r>
              <a:rPr lang="en-US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aneco.group@shaneco.ru</a:t>
            </a:r>
            <a:endParaRPr lang="ru-RU" dirty="0">
              <a:solidFill>
                <a:schemeClr val="tx1">
                  <a:lumMod val="95000"/>
                  <a:lumOff val="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3105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9748" y="676901"/>
            <a:ext cx="6122228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го мы представляем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2</a:t>
            </a:fld>
            <a:endParaRPr lang="ru-RU"/>
          </a:p>
        </p:txBody>
      </p:sp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702974" y="1676301"/>
            <a:ext cx="11079812" cy="4893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5" tIns="45708" rIns="91415" bIns="45708">
            <a:spAutoFit/>
          </a:bodyPr>
          <a:lstStyle/>
          <a:p>
            <a:pPr marL="338328" indent="-338328">
              <a:buSzPts val="2000"/>
              <a:buFont typeface="Wingdings"/>
              <a:buChar char="Ø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1992 г.  - выпускниками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МИХМ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(Институт химического машиностроения)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 Географического факультета МГУ 1988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г. создана Экологическая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фирма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«ШАНЭКО» 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buSzPts val="2000"/>
              <a:buFont typeface="Wingdings"/>
              <a:buChar char="Ø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«Экология» в данном случае понимается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асширительно, «вульгарно» - не как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аука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, а как </a:t>
            </a:r>
            <a:r>
              <a:rPr lang="ru-RU" sz="2400" i="1" dirty="0">
                <a:latin typeface="Arial" panose="020B0604020202020204" pitchFamily="34" charset="0"/>
                <a:cs typeface="Arial" panose="020B0604020202020204" pitchFamily="34" charset="0"/>
              </a:rPr>
              <a:t>сфера деятельности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, обеспечивающая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«защиту» человека и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окружающей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его среды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от воздействий, признаваемых «вредными»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(негативными)  - выбросы, сбросы, отходы</a:t>
            </a:r>
          </a:p>
          <a:p>
            <a:pPr marL="338328" indent="-338328">
              <a:buSzPts val="2000"/>
              <a:buFont typeface="Wingdings"/>
              <a:buChar char="Ø"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1990/2000-х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гг. под брэндом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«ШАНЭКО»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озданы несколько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компаний,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ориентированных на реализацию проектов в различных предметных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бластях. В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2005 г. учреждено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Акционерное Общество «Группа Компаний ШАНЭКО» (АО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«ГК ШАНЭКО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») </a:t>
            </a:r>
          </a:p>
          <a:p>
            <a:pPr marL="338328" indent="-338328">
              <a:buSzPts val="2000"/>
              <a:buFont typeface="Wingdings"/>
              <a:buChar char="Ø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вязи с расширением состава работ в 2013 г. АО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«ГК ШАНЭКО»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реобразовано в Проектный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институт</a:t>
            </a:r>
            <a:endParaRPr lang="ru-RU" altLang="ru-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16575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9748" y="676901"/>
            <a:ext cx="6122228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го мы представляем (2)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702974" y="1676301"/>
            <a:ext cx="11079812" cy="5878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5" tIns="45708" rIns="91415" bIns="45708">
            <a:spAutoFit/>
          </a:bodyPr>
          <a:lstStyle/>
          <a:p>
            <a:pPr marL="338328" indent="-338328">
              <a:buSzPts val="2000"/>
              <a:buFont typeface="Wingdings"/>
              <a:buChar char="Ø"/>
            </a:pP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Деятельность ШАНЭКО условно можно разделить </a:t>
            </a:r>
            <a:r>
              <a:rPr lang="ru-RU" sz="2100" dirty="0"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три больших блока: </a:t>
            </a:r>
            <a:endParaRPr lang="ru-RU" sz="2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изучение </a:t>
            </a:r>
            <a:r>
              <a:rPr lang="ru-RU" sz="2100" dirty="0">
                <a:latin typeface="Arial" panose="020B0604020202020204" pitchFamily="34" charset="0"/>
                <a:cs typeface="Arial" panose="020B0604020202020204" pitchFamily="34" charset="0"/>
              </a:rPr>
              <a:t>окружающей среды, </a:t>
            </a: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изменяемой человеком (например, добыча </a:t>
            </a:r>
            <a:r>
              <a:rPr lang="ru-RU" sz="2100" dirty="0">
                <a:latin typeface="Arial" panose="020B0604020202020204" pitchFamily="34" charset="0"/>
                <a:cs typeface="Arial" panose="020B0604020202020204" pitchFamily="34" charset="0"/>
              </a:rPr>
              <a:t>полезных ископаемых, строительство </a:t>
            </a: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различных объектов), это </a:t>
            </a:r>
            <a:r>
              <a:rPr lang="ru-RU" sz="21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21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Изыскания» и четыре их вида:</a:t>
            </a:r>
          </a:p>
          <a:p>
            <a:pPr marL="1252728" lvl="2" indent="-338328">
              <a:buSzPts val="2000"/>
              <a:buFont typeface="Wingdings"/>
              <a:buChar char="Ø"/>
            </a:pP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геологические</a:t>
            </a:r>
          </a:p>
          <a:p>
            <a:pPr marL="1252728" lvl="2" indent="-338328">
              <a:buSzPts val="2000"/>
              <a:buFont typeface="Wingdings"/>
              <a:buChar char="Ø"/>
            </a:pP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геодезические</a:t>
            </a:r>
          </a:p>
          <a:p>
            <a:pPr marL="1252728" lvl="2" indent="-338328">
              <a:buSzPts val="2000"/>
              <a:buFont typeface="Wingdings"/>
              <a:buChar char="Ø"/>
            </a:pP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гидрометеорологические</a:t>
            </a:r>
          </a:p>
          <a:p>
            <a:pPr marL="1252728" lvl="2" indent="-338328">
              <a:buSzPts val="2000"/>
              <a:buFont typeface="Wingdings"/>
              <a:buChar char="Ø"/>
            </a:pP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экологические</a:t>
            </a:r>
            <a:endParaRPr lang="ru-RU" sz="21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изучение </a:t>
            </a:r>
            <a:r>
              <a:rPr lang="ru-RU" sz="2100" dirty="0">
                <a:latin typeface="Arial" panose="020B0604020202020204" pitchFamily="34" charset="0"/>
                <a:cs typeface="Arial" panose="020B0604020202020204" pitchFamily="34" charset="0"/>
              </a:rPr>
              <a:t>деятельности человека, чаще </a:t>
            </a: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всего, </a:t>
            </a:r>
            <a:r>
              <a:rPr lang="ru-RU" sz="2100" dirty="0">
                <a:latin typeface="Arial" panose="020B0604020202020204" pitchFamily="34" charset="0"/>
                <a:cs typeface="Arial" panose="020B0604020202020204" pitchFamily="34" charset="0"/>
              </a:rPr>
              <a:t>– производственной, связанной с </a:t>
            </a: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негативными воздействиями </a:t>
            </a:r>
            <a:r>
              <a:rPr lang="ru-RU" sz="2100" dirty="0">
                <a:latin typeface="Arial" panose="020B0604020202020204" pitchFamily="34" charset="0"/>
                <a:cs typeface="Arial" panose="020B0604020202020204" pitchFamily="34" charset="0"/>
              </a:rPr>
              <a:t>на окружающую среду, поиск </a:t>
            </a: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способов предотвращения таких воздействий или их минимизации, переход </a:t>
            </a:r>
            <a:r>
              <a:rPr lang="ru-RU" sz="2100" dirty="0">
                <a:latin typeface="Arial" panose="020B0604020202020204" pitchFamily="34" charset="0"/>
                <a:cs typeface="Arial" panose="020B0604020202020204" pitchFamily="34" charset="0"/>
              </a:rPr>
              <a:t>от «бурых» к «зеленым» </a:t>
            </a: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ологиям, это  </a:t>
            </a:r>
            <a:r>
              <a:rPr lang="ru-RU" sz="21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21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Экологическое проектирование»</a:t>
            </a: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100" dirty="0" smtClean="0">
                <a:latin typeface="Arial" panose="020B0604020202020204" pitchFamily="34" charset="0"/>
                <a:cs typeface="Arial" panose="020B0604020202020204" pitchFamily="34" charset="0"/>
              </a:rPr>
              <a:t>консультирование предприятий и организаций, органов власти по вопросам охраны окружающей среды это </a:t>
            </a:r>
            <a:r>
              <a:rPr lang="ru-RU" sz="21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21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Консультационные услуги» или «Консалтинг»</a:t>
            </a:r>
            <a:endParaRPr lang="ru-RU" sz="21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08" indent="-342808">
              <a:buFont typeface="Wingdings" pitchFamily="2" charset="2"/>
              <a:buChar char="Ø"/>
            </a:pPr>
            <a:endParaRPr lang="ru-RU" altLang="ru-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6856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9748" y="676901"/>
            <a:ext cx="6122228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ого мы представляем (3)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702974" y="1676301"/>
            <a:ext cx="11079812" cy="60939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5" tIns="45708" rIns="91415" bIns="45708">
            <a:spAutoFit/>
          </a:bodyPr>
          <a:lstStyle/>
          <a:p>
            <a:pPr marL="338328" indent="-338328">
              <a:buSzPts val="2000"/>
              <a:buFont typeface="Wingdings"/>
              <a:buChar char="Ø"/>
            </a:pPr>
            <a:r>
              <a:rPr lang="ru-RU" sz="2500" dirty="0" smtClean="0">
                <a:latin typeface="Arial" panose="020B0604020202020204" pitchFamily="34" charset="0"/>
                <a:cs typeface="Arial" panose="020B0604020202020204" pitchFamily="34" charset="0"/>
              </a:rPr>
              <a:t>Результаты </a:t>
            </a:r>
            <a:r>
              <a:rPr lang="ru-RU" sz="2500" dirty="0">
                <a:latin typeface="Arial" panose="020B0604020202020204" pitchFamily="34" charset="0"/>
                <a:cs typeface="Arial" panose="020B0604020202020204" pitchFamily="34" charset="0"/>
              </a:rPr>
              <a:t>нашей деятельности, сведенные воедино, должны быть доведены до </a:t>
            </a:r>
            <a:r>
              <a:rPr lang="ru-RU" sz="2500" dirty="0" smtClean="0">
                <a:latin typeface="Arial" panose="020B0604020202020204" pitchFamily="34" charset="0"/>
                <a:cs typeface="Arial" panose="020B0604020202020204" pitchFamily="34" charset="0"/>
              </a:rPr>
              <a:t>населения</a:t>
            </a:r>
            <a:r>
              <a:rPr lang="ru-RU" sz="25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500" dirty="0" smtClean="0">
                <a:latin typeface="Arial" panose="020B0604020202020204" pitchFamily="34" charset="0"/>
                <a:cs typeface="Arial" panose="020B0604020202020204" pitchFamily="34" charset="0"/>
              </a:rPr>
              <a:t>общественности – в широком смысле слова, </a:t>
            </a:r>
            <a:r>
              <a:rPr lang="ru-RU" sz="2500" dirty="0">
                <a:latin typeface="Arial" panose="020B0604020202020204" pitchFamily="34" charset="0"/>
                <a:cs typeface="Arial" panose="020B0604020202020204" pitchFamily="34" charset="0"/>
              </a:rPr>
              <a:t>органов власти, общественности,</a:t>
            </a:r>
            <a:r>
              <a:rPr lang="ru-RU" sz="2500" dirty="0" smtClean="0">
                <a:latin typeface="Arial" panose="020B0604020202020204" pitchFamily="34" charset="0"/>
                <a:cs typeface="Arial" panose="020B0604020202020204" pitchFamily="34" charset="0"/>
              </a:rPr>
              <a:t> до так называемых «</a:t>
            </a:r>
            <a:r>
              <a:rPr lang="ru-RU" sz="2500" dirty="0" err="1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ейкхолдеров</a:t>
            </a:r>
            <a:r>
              <a:rPr lang="ru-RU" sz="2500" dirty="0" smtClean="0"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2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500" dirty="0">
                <a:latin typeface="Arial" panose="020B0604020202020204" pitchFamily="34" charset="0"/>
                <a:cs typeface="Arial" panose="020B0604020202020204" pitchFamily="34" charset="0"/>
              </a:rPr>
              <a:t>Вся эта деятельность в ее совокупности может быть понята как процесс оценки воздействия на окружающую </a:t>
            </a:r>
            <a:r>
              <a:rPr lang="ru-RU" sz="2500" dirty="0" smtClean="0">
                <a:latin typeface="Arial" panose="020B0604020202020204" pitchFamily="34" charset="0"/>
                <a:cs typeface="Arial" panose="020B0604020202020204" pitchFamily="34" charset="0"/>
              </a:rPr>
              <a:t>среду (</a:t>
            </a:r>
            <a:r>
              <a:rPr lang="ru-RU" sz="25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ВОС</a:t>
            </a:r>
            <a:r>
              <a:rPr lang="ru-RU" sz="2500" dirty="0" smtClean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2500" dirty="0">
                <a:latin typeface="Arial" panose="020B0604020202020204" pitchFamily="34" charset="0"/>
                <a:cs typeface="Arial" panose="020B0604020202020204" pitchFamily="34" charset="0"/>
              </a:rPr>
              <a:t>или EIA, включающий в себя, по мере совершенствования, все новые сферы, в пределах которых деятельность человека должна быть рассмотрена перед ее осуществлением – отношение к культурному наследию, последствия изменения социума в результате планируемой активности (в частности – последствия для </a:t>
            </a:r>
            <a:r>
              <a:rPr lang="ru-RU" sz="2500" dirty="0" smtClean="0">
                <a:latin typeface="Arial" panose="020B0604020202020204" pitchFamily="34" charset="0"/>
                <a:cs typeface="Arial" panose="020B0604020202020204" pitchFamily="34" charset="0"/>
              </a:rPr>
              <a:t>коренного населения) </a:t>
            </a:r>
            <a:r>
              <a:rPr lang="ru-RU" sz="2500" dirty="0">
                <a:latin typeface="Arial" panose="020B0604020202020204" pitchFamily="34" charset="0"/>
                <a:cs typeface="Arial" panose="020B0604020202020204" pitchFamily="34" charset="0"/>
              </a:rPr>
              <a:t>и иные, требуемые </a:t>
            </a:r>
            <a:r>
              <a:rPr lang="ru-RU" sz="2500" dirty="0" smtClean="0">
                <a:latin typeface="Arial" panose="020B0604020202020204" pitchFamily="34" charset="0"/>
                <a:cs typeface="Arial" panose="020B0604020202020204" pitchFamily="34" charset="0"/>
              </a:rPr>
              <a:t>отечественной и </a:t>
            </a:r>
            <a:r>
              <a:rPr lang="ru-RU" sz="2500" dirty="0">
                <a:latin typeface="Arial" panose="020B0604020202020204" pitchFamily="34" charset="0"/>
                <a:cs typeface="Arial" panose="020B0604020202020204" pitchFamily="34" charset="0"/>
              </a:rPr>
              <a:t>международной </a:t>
            </a:r>
            <a:r>
              <a:rPr lang="ru-RU" sz="2500" dirty="0" smtClean="0">
                <a:latin typeface="Arial" panose="020B0604020202020204" pitchFamily="34" charset="0"/>
                <a:cs typeface="Arial" panose="020B0604020202020204" pitchFamily="34" charset="0"/>
              </a:rPr>
              <a:t>практикой</a:t>
            </a:r>
            <a:endParaRPr lang="ru-RU" sz="2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08" indent="-342808">
              <a:buFont typeface="Wingdings" pitchFamily="2" charset="2"/>
              <a:buChar char="Ø"/>
            </a:pPr>
            <a:endParaRPr lang="ru-RU" altLang="ru-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1802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9748" y="676901"/>
            <a:ext cx="6122228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очему здесь и сейчас?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702974" y="1676301"/>
            <a:ext cx="11079812" cy="5539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5" tIns="45708" rIns="91415" bIns="45708">
            <a:spAutoFit/>
          </a:bodyPr>
          <a:lstStyle/>
          <a:p>
            <a:pPr marL="457200" lvl="3" indent="-338328">
              <a:spcBef>
                <a:spcPts val="6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Объективные предпосылки:</a:t>
            </a:r>
          </a:p>
          <a:p>
            <a:pPr marL="914400" lvl="4" indent="-338328">
              <a:spcBef>
                <a:spcPts val="6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самое время (начало специализации)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4" indent="-338328">
              <a:spcBef>
                <a:spcPts val="6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самое место: возможность обдумать перспективы и обсудить их с компетентными людьми (старшие товарищи, преподаватели и др.)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3" indent="-338328">
              <a:spcBef>
                <a:spcPts val="6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Субъективные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предпосылки:</a:t>
            </a:r>
          </a:p>
          <a:p>
            <a:pPr marL="914400" lvl="4" indent="-338328">
              <a:spcBef>
                <a:spcPts val="6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потребности компании</a:t>
            </a:r>
          </a:p>
          <a:p>
            <a:pPr marL="914400" lvl="4" indent="-338328">
              <a:spcBef>
                <a:spcPts val="6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«удобный случай»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08" indent="-342808">
              <a:buFont typeface="Wingdings" pitchFamily="2" charset="2"/>
              <a:buChar char="Ø"/>
            </a:pPr>
            <a:endParaRPr lang="ru-RU" altLang="ru-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38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9748" y="676901"/>
            <a:ext cx="5861094" cy="712519"/>
          </a:xfrm>
        </p:spPr>
        <p:txBody>
          <a:bodyPr>
            <a:noAutofit/>
          </a:bodyPr>
          <a:lstStyle/>
          <a:p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Трудоустройство 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географов: варианты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702974" y="1676301"/>
            <a:ext cx="11079812" cy="6447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5" tIns="45708" rIns="91415" bIns="45708">
            <a:spAutoFit/>
          </a:bodyPr>
          <a:lstStyle/>
          <a:p>
            <a:pPr marL="338328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сматриваем только варианты, связанные с сохранением базовых «географических» компетенций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Сферы трудоустройства:</a:t>
            </a: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наука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(академические/прикладные исследования)</a:t>
            </a: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обучение (средняя и высшая школа, послевузовское образование)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государственная служба и/или работа в государственных организациях и ведомствах, не относящихся к госслужбе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бизнес в широком смысле этого слова (в </a:t>
            </a:r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. оказание услуг)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иное (общественные организации, работа за рубежом, в </a:t>
            </a:r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. по грантам…)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08" indent="-342808">
              <a:buFont typeface="Wingdings" pitchFamily="2" charset="2"/>
              <a:buChar char="Ø"/>
            </a:pPr>
            <a:endParaRPr lang="ru-RU" altLang="ru-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0414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9748" y="676901"/>
            <a:ext cx="5861094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ариант №1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702974" y="1676301"/>
            <a:ext cx="11079812" cy="7771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5" tIns="45708" rIns="91415" bIns="45708">
            <a:spAutoFit/>
          </a:bodyPr>
          <a:lstStyle/>
          <a:p>
            <a:pPr marL="338328" indent="-338328">
              <a:buSzPts val="2000"/>
              <a:buFont typeface="Wingdings"/>
              <a:buChar char="Ø"/>
            </a:pPr>
            <a:r>
              <a:rPr lang="ru-RU" sz="2700" dirty="0">
                <a:latin typeface="Arial" panose="020B0604020202020204" pitchFamily="34" charset="0"/>
                <a:cs typeface="Arial" panose="020B0604020202020204" pitchFamily="34" charset="0"/>
              </a:rPr>
              <a:t>Изыскания:</a:t>
            </a: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инженерно-геологические: геоморфология</a:t>
            </a:r>
            <a:endParaRPr lang="ru-RU" sz="2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инженерно-геодезические: картография</a:t>
            </a:r>
            <a:endParaRPr lang="ru-RU" sz="2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инженерно-гидрометеорологические: метеорология/климатология, океанология</a:t>
            </a:r>
            <a:endParaRPr lang="ru-RU" sz="2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r>
              <a:rPr lang="ru-RU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инженерно-экологические: все остальные специализации</a:t>
            </a:r>
          </a:p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700" dirty="0">
                <a:latin typeface="Arial" panose="020B0604020202020204" pitchFamily="34" charset="0"/>
                <a:cs typeface="Arial" panose="020B0604020202020204" pitchFamily="34" charset="0"/>
              </a:rPr>
              <a:t>Где начинать? – </a:t>
            </a:r>
            <a:r>
              <a:rPr lang="ru-RU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но-изыскательские </a:t>
            </a:r>
            <a:r>
              <a:rPr lang="ru-RU" sz="2700" dirty="0">
                <a:latin typeface="Arial" panose="020B0604020202020204" pitchFamily="34" charset="0"/>
                <a:cs typeface="Arial" panose="020B0604020202020204" pitchFamily="34" charset="0"/>
              </a:rPr>
              <a:t>организации</a:t>
            </a:r>
          </a:p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700" dirty="0">
                <a:latin typeface="Arial" panose="020B0604020202020204" pitchFamily="34" charset="0"/>
                <a:cs typeface="Arial" panose="020B0604020202020204" pitchFamily="34" charset="0"/>
              </a:rPr>
              <a:t>С чего начать? – технические работы, работа на «подхвате», в </a:t>
            </a:r>
            <a:r>
              <a:rPr lang="ru-RU" sz="2700" dirty="0" err="1"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27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экспедиционные</a:t>
            </a:r>
          </a:p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Как </a:t>
            </a:r>
            <a:r>
              <a:rPr lang="ru-RU" sz="2700" dirty="0">
                <a:latin typeface="Arial" panose="020B0604020202020204" pitchFamily="34" charset="0"/>
                <a:cs typeface="Arial" panose="020B0604020202020204" pitchFamily="34" charset="0"/>
              </a:rPr>
              <a:t>начинать? </a:t>
            </a:r>
            <a:r>
              <a:rPr lang="ru-RU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– изучение  нормативных требований, </a:t>
            </a:r>
            <a:r>
              <a:rPr lang="ru-RU" sz="2700" dirty="0">
                <a:latin typeface="Arial" panose="020B0604020202020204" pitchFamily="34" charset="0"/>
                <a:cs typeface="Arial" panose="020B0604020202020204" pitchFamily="34" charset="0"/>
              </a:rPr>
              <a:t>теоретическая и практическая </a:t>
            </a:r>
            <a:r>
              <a:rPr lang="ru-RU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подготовка </a:t>
            </a:r>
            <a:endParaRPr lang="ru-RU" sz="2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52728" lvl="2" indent="-338328">
              <a:buSzPts val="2000"/>
              <a:buFont typeface="Wingdings"/>
              <a:buChar char="Ø"/>
            </a:pPr>
            <a:endParaRPr lang="ru-RU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buSzPts val="2000"/>
              <a:buFont typeface="Wingdings"/>
              <a:buChar char="Ø"/>
            </a:pP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08" indent="-342808">
              <a:buFont typeface="Wingdings" pitchFamily="2" charset="2"/>
              <a:buChar char="Ø"/>
            </a:pPr>
            <a:endParaRPr lang="ru-RU" altLang="ru-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2751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9748" y="676901"/>
            <a:ext cx="5861094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ариант №2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702974" y="1676301"/>
            <a:ext cx="11079812" cy="66325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5" tIns="45708" rIns="91415" bIns="45708">
            <a:spAutoFit/>
          </a:bodyPr>
          <a:lstStyle/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ОВОС 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4863" indent="-33813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Где начинать? – проектные организации</a:t>
            </a:r>
          </a:p>
          <a:p>
            <a:pPr marL="804863" indent="-33813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С чего начать? – 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технические работы, работа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на «подхвате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», в </a:t>
            </a:r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. экспедиционные, выполнение </a:t>
            </a:r>
            <a:r>
              <a:rPr lang="ru-RU" sz="2800" dirty="0">
                <a:latin typeface="Arial" panose="020B0604020202020204" pitchFamily="34" charset="0"/>
                <a:cs typeface="Arial" panose="020B0604020202020204" pitchFamily="34" charset="0"/>
              </a:rPr>
              <a:t>отдельного раздела оценки, руководство комплексом работ </a:t>
            </a:r>
            <a:endParaRPr lang="ru-RU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804863" indent="-33813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Как начинать? – теоретическая и практическая подготовка, изучение богатого наследия (в </a:t>
            </a:r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.ч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геофака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МГУ), законодательной базы</a:t>
            </a: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endParaRPr lang="ru-RU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buSzPts val="2000"/>
              <a:buFont typeface="Wingdings"/>
              <a:buChar char="Ø"/>
            </a:pP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08" indent="-342808">
              <a:buFont typeface="Wingdings" pitchFamily="2" charset="2"/>
              <a:buChar char="Ø"/>
            </a:pPr>
            <a:endParaRPr lang="ru-RU" altLang="ru-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27105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9748" y="676901"/>
            <a:ext cx="5861094" cy="712519"/>
          </a:xfrm>
        </p:spPr>
        <p:txBody>
          <a:bodyPr>
            <a:noAutofit/>
          </a:bodyPr>
          <a:lstStyle/>
          <a:p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ариант №3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AC2713-A3E6-4FBC-9C90-426149C1B7A6}" type="slidenum">
              <a:rPr lang="ru-RU" smtClean="0"/>
              <a:pPr/>
              <a:t>9</a:t>
            </a:fld>
            <a:endParaRPr lang="ru-RU"/>
          </a:p>
        </p:txBody>
      </p:sp>
      <p:sp>
        <p:nvSpPr>
          <p:cNvPr id="7" name="Прямоугольник 3"/>
          <p:cNvSpPr>
            <a:spLocks noChangeArrowheads="1"/>
          </p:cNvSpPr>
          <p:nvPr/>
        </p:nvSpPr>
        <p:spPr bwMode="auto">
          <a:xfrm>
            <a:off x="702974" y="1676301"/>
            <a:ext cx="11079812" cy="694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15" tIns="45708" rIns="91415" bIns="45708">
            <a:spAutoFit/>
          </a:bodyPr>
          <a:lstStyle/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Три заветные буквы: </a:t>
            </a:r>
            <a:r>
              <a:rPr lang="en-US" sz="28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nvironment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8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ocial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8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overnance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en-US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SG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 тематика: настоятельная потребность или мода?</a:t>
            </a:r>
          </a:p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«Горячий пирожок»: оценка климатических изменений и разработка стратегий</a:t>
            </a:r>
          </a:p>
          <a:p>
            <a:pPr marL="338328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Перспективы трудоустройства:</a:t>
            </a:r>
          </a:p>
          <a:p>
            <a:pPr marL="795528" lvl="1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природопользователи</a:t>
            </a:r>
            <a:endParaRPr lang="ru-RU" sz="28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консалтинговые  организации (оценщики, </a:t>
            </a:r>
            <a:r>
              <a:rPr lang="ru-RU" sz="28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валидаторы</a:t>
            </a: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/верификаторы, иное)</a:t>
            </a:r>
          </a:p>
          <a:p>
            <a:pPr marL="795528" lvl="1" indent="-338328">
              <a:spcBef>
                <a:spcPts val="1200"/>
              </a:spcBef>
              <a:buSzPts val="2000"/>
              <a:buFont typeface="Wingdings"/>
              <a:buChar char="Ø"/>
            </a:pPr>
            <a:r>
              <a:rPr lang="ru-RU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…</a:t>
            </a:r>
          </a:p>
          <a:p>
            <a:pPr marL="338328" indent="-338328">
              <a:buSzPts val="2000"/>
              <a:buFont typeface="Wingdings"/>
              <a:buChar char="Ø"/>
            </a:pPr>
            <a:endParaRPr lang="ru-RU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38328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23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95528" lvl="1" indent="-338328">
              <a:buSzPts val="2000"/>
              <a:buFont typeface="Wingdings"/>
              <a:buChar char="Ø"/>
            </a:pP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808" indent="-342808">
              <a:buFont typeface="Wingdings" pitchFamily="2" charset="2"/>
              <a:buChar char="Ø"/>
            </a:pPr>
            <a:endParaRPr lang="ru-RU" altLang="ru-RU" sz="20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016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4">
      <a:dk1>
        <a:srgbClr val="7F7F7F"/>
      </a:dk1>
      <a:lt1>
        <a:srgbClr val="FFFFFF"/>
      </a:lt1>
      <a:dk2>
        <a:srgbClr val="FFFFFF"/>
      </a:dk2>
      <a:lt2>
        <a:srgbClr val="FFFFFF"/>
      </a:lt2>
      <a:accent1>
        <a:srgbClr val="BFBFBF"/>
      </a:accent1>
      <a:accent2>
        <a:srgbClr val="C00000"/>
      </a:accent2>
      <a:accent3>
        <a:srgbClr val="BFBFBF"/>
      </a:accent3>
      <a:accent4>
        <a:srgbClr val="D8D8D8"/>
      </a:accent4>
      <a:accent5>
        <a:srgbClr val="F2F2F2"/>
      </a:accent5>
      <a:accent6>
        <a:srgbClr val="AEABAB"/>
      </a:accent6>
      <a:hlink>
        <a:srgbClr val="757070"/>
      </a:hlink>
      <a:folHlink>
        <a:srgbClr val="171616"/>
      </a:folHlink>
    </a:clrScheme>
    <a:fontScheme name="Другая 6">
      <a:majorFont>
        <a:latin typeface="Neo Sans Cyr Medium"/>
        <a:ea typeface=""/>
        <a:cs typeface=""/>
      </a:majorFont>
      <a:minorFont>
        <a:latin typeface="Neo Sans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Презентация3" id="{CEF9989D-B0D6-40A6-A95D-D1245A012097}" vid="{D813E8A7-82FF-448B-A099-24BDCE4D9090}"/>
    </a:ext>
  </a:extLst>
</a:theme>
</file>

<file path=ppt/theme/theme2.xml><?xml version="1.0" encoding="utf-8"?>
<a:theme xmlns:a="http://schemas.openxmlformats.org/drawingml/2006/main" name="1_Тема Office">
  <a:themeElements>
    <a:clrScheme name="Другая 4">
      <a:dk1>
        <a:srgbClr val="7F7F7F"/>
      </a:dk1>
      <a:lt1>
        <a:srgbClr val="FFFFFF"/>
      </a:lt1>
      <a:dk2>
        <a:srgbClr val="FFFFFF"/>
      </a:dk2>
      <a:lt2>
        <a:srgbClr val="FFFFFF"/>
      </a:lt2>
      <a:accent1>
        <a:srgbClr val="BFBFBF"/>
      </a:accent1>
      <a:accent2>
        <a:srgbClr val="C00000"/>
      </a:accent2>
      <a:accent3>
        <a:srgbClr val="BFBFBF"/>
      </a:accent3>
      <a:accent4>
        <a:srgbClr val="D8D8D8"/>
      </a:accent4>
      <a:accent5>
        <a:srgbClr val="F2F2F2"/>
      </a:accent5>
      <a:accent6>
        <a:srgbClr val="AEABAB"/>
      </a:accent6>
      <a:hlink>
        <a:srgbClr val="757070"/>
      </a:hlink>
      <a:folHlink>
        <a:srgbClr val="171616"/>
      </a:folHlink>
    </a:clrScheme>
    <a:fontScheme name="Другая 6">
      <a:majorFont>
        <a:latin typeface="Neo Sans Cyr Medium"/>
        <a:ea typeface=""/>
        <a:cs typeface=""/>
      </a:majorFont>
      <a:minorFont>
        <a:latin typeface="Neo Sans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Презентация3" id="{CEF9989D-B0D6-40A6-A95D-D1245A012097}" vid="{D813E8A7-82FF-448B-A099-24BDCE4D9090}"/>
    </a:ext>
  </a:extLst>
</a:theme>
</file>

<file path=ppt/theme/theme3.xml><?xml version="1.0" encoding="utf-8"?>
<a:theme xmlns:a="http://schemas.openxmlformats.org/drawingml/2006/main" name="1_Тема ШАНЭКО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Заголовок">
      <a:majorFont>
        <a:latin typeface="Pragmatica ExtraBold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A54390B5119B6941B150DE42451ACB3F" ma:contentTypeVersion="1" ma:contentTypeDescription="Создание документа." ma:contentTypeScope="" ma:versionID="1b756b15cd57c6945cb79cd10cce246e">
  <xsd:schema xmlns:xsd="http://www.w3.org/2001/XMLSchema" xmlns:xs="http://www.w3.org/2001/XMLSchema" xmlns:p="http://schemas.microsoft.com/office/2006/metadata/properties" xmlns:ns2="f7ef1a92-e57a-40ff-ac65-22f83e80561b" xmlns:ns3="http://schemas.microsoft.com/sharepoint/v3/fields" targetNamespace="http://schemas.microsoft.com/office/2006/metadata/properties" ma:root="true" ma:fieldsID="f6019b6353091eedf857dd7e1708ad34" ns2:_="" ns3:_="">
    <xsd:import namespace="f7ef1a92-e57a-40ff-ac65-22f83e80561b"/>
    <xsd:import namespace="http://schemas.microsoft.com/sharepoint/v3/fields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7ef1a92-e57a-40ff-ac65-22f83e80561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_Status" ma:index="11" nillable="true" ma:displayName="Состояние" ma:default="Не начат" ma:internalName="_Status">
      <xsd:simpleType>
        <xsd:union memberTypes="dms:Text">
          <xsd:simpleType>
            <xsd:restriction base="dms:Choice">
              <xsd:enumeration value="Не начат"/>
              <xsd:enumeration value="Черновик"/>
              <xsd:enumeration value="Проверен"/>
              <xsd:enumeration value="Внесен в план"/>
              <xsd:enumeration value="Опубликован"/>
              <xsd:enumeration value="Окончательный"/>
              <xsd:enumeration value="Просрочен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 ma:displayName="Состояние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Status xmlns="http://schemas.microsoft.com/sharepoint/v3/fields">Не начат</_Status>
    <_dlc_DocId xmlns="f7ef1a92-e57a-40ff-ac65-22f83e80561b">SHANECOPRJ-1914861690-557</_dlc_DocId>
    <_dlc_DocIdUrl xmlns="f7ef1a92-e57a-40ff-ac65-22f83e80561b">
      <Url>http://docflow.shaneco.ru:2181/PWA/0084500/_layouts/DocIdRedir.aspx?ID=SHANECOPRJ-1914861690-557</Url>
      <Description>SHANECOPRJ-1914861690-557</Description>
    </_dlc_DocIdUrl>
  </documentManagement>
</p:properti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Nintex conditional workflow start</Name>
    <Synchronization>Synchronous</Synchronization>
    <Type>10001</Type>
    <SequenceNumber>50000</SequenceNumber>
    <Assembly>Nintex.Workflow, Version=1.0.0.0, Culture=neutral, PublicKeyToken=913f6bae0ca5ae12</Assembly>
    <Class>Nintex.Workflow.ConditionalWorkflowStartReceiver</Class>
    <Data>30.08.2011 8:14:51</Data>
    <Filter/>
  </Receiver>
  <Receiver>
    <Name>Nintex conditional workflow start</Name>
    <Synchronization>Synchronous</Synchronization>
    <Type>10002</Type>
    <SequenceNumber>50000</SequenceNumber>
    <Assembly>Nintex.Workflow, Version=1.0.0.0, Culture=neutral, PublicKeyToken=913f6bae0ca5ae12</Assembly>
    <Class>Nintex.Workflow.ConditionalWorkflowStartReceiver</Class>
    <Data>30.08.2011 8:14:51</Data>
    <Filter/>
  </Receiver>
  <Receiver>
    <Name>Nintex conditional workflow start</Name>
    <Synchronization>Synchronous</Synchronization>
    <Type>2</Type>
    <SequenceNumber>50000</SequenceNumber>
    <Assembly>Nintex.Workflow, Version=1.0.0.0, Culture=neutral, PublicKeyToken=913f6bae0ca5ae12</Assembly>
    <Class>Nintex.Workflow.ConditionalWorkflowStartReceiver</Class>
    <Data>30.08.2011 8:14:51</Data>
    <Filter/>
  </Receiver>
</spe:Receivers>
</file>

<file path=customXml/itemProps1.xml><?xml version="1.0" encoding="utf-8"?>
<ds:datastoreItem xmlns:ds="http://schemas.openxmlformats.org/officeDocument/2006/customXml" ds:itemID="{E7430E39-399E-43E1-89CD-14AD96FBA52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7ef1a92-e57a-40ff-ac65-22f83e80561b"/>
    <ds:schemaRef ds:uri="http://schemas.microsoft.com/sharepoint/v3/field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760BECD-5CCD-4A39-8405-120A02F97F2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7B9DA10E-585A-4AE2-98F1-51DBD6CDA0B7}">
  <ds:schemaRefs>
    <ds:schemaRef ds:uri="f7ef1a92-e57a-40ff-ac65-22f83e80561b"/>
    <ds:schemaRef ds:uri="http://schemas.microsoft.com/office/2006/documentManagement/types"/>
    <ds:schemaRef ds:uri="http://purl.org/dc/terms/"/>
    <ds:schemaRef ds:uri="http://schemas.microsoft.com/office/2006/metadata/properties"/>
    <ds:schemaRef ds:uri="http://purl.org/dc/elements/1.1/"/>
    <ds:schemaRef ds:uri="http://www.w3.org/XML/1998/namespace"/>
    <ds:schemaRef ds:uri="http://schemas.microsoft.com/office/infopath/2007/PartnerControls"/>
    <ds:schemaRef ds:uri="http://schemas.microsoft.com/sharepoint/v3/fields"/>
    <ds:schemaRef ds:uri="http://purl.org/dc/dcmitype/"/>
    <ds:schemaRef ds:uri="http://schemas.openxmlformats.org/package/2006/metadata/core-properties"/>
  </ds:schemaRefs>
</ds:datastoreItem>
</file>

<file path=customXml/itemProps4.xml><?xml version="1.0" encoding="utf-8"?>
<ds:datastoreItem xmlns:ds="http://schemas.openxmlformats.org/officeDocument/2006/customXml" ds:itemID="{3E41EB35-9550-4F0F-ADFD-E2264B0CE4C6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495</TotalTime>
  <Words>1201</Words>
  <Application>Microsoft Office PowerPoint</Application>
  <PresentationFormat>Произвольный</PresentationFormat>
  <Paragraphs>196</Paragraphs>
  <Slides>18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22" baseType="lpstr">
      <vt:lpstr>Тема Office</vt:lpstr>
      <vt:lpstr>1_Тема Office</vt:lpstr>
      <vt:lpstr>1_Тема ШАНЭКО</vt:lpstr>
      <vt:lpstr>think-cell Slide</vt:lpstr>
      <vt:lpstr>  Советы на ближайшее  будущее</vt:lpstr>
      <vt:lpstr>Кого мы представляем</vt:lpstr>
      <vt:lpstr>Кого мы представляем (2)</vt:lpstr>
      <vt:lpstr>Кого мы представляем (3)</vt:lpstr>
      <vt:lpstr>Почему здесь и сейчас?</vt:lpstr>
      <vt:lpstr>Трудоустройство географов: варианты</vt:lpstr>
      <vt:lpstr>Вариант №1</vt:lpstr>
      <vt:lpstr>Вариант №2</vt:lpstr>
      <vt:lpstr>Вариант №3</vt:lpstr>
      <vt:lpstr>Перспективы трудоустройства: проектный бизнес и консалтинг</vt:lpstr>
      <vt:lpstr>Специализации и перспективы трудоустройства проектный бизнес и консалтинг (2)</vt:lpstr>
      <vt:lpstr>Потребности рынка труда</vt:lpstr>
      <vt:lpstr>Особенности текущего момента</vt:lpstr>
      <vt:lpstr>Сухой остаток: мотивация людей, выбирающих профессию географа</vt:lpstr>
      <vt:lpstr>Сухой остаток: в каких областях приложить усилия?</vt:lpstr>
      <vt:lpstr>Что можем предложить?</vt:lpstr>
      <vt:lpstr>Презентация PowerPoint</vt:lpstr>
      <vt:lpstr>СПАСИБО ЗА ВНИМАНИЕ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isa</dc:creator>
  <cp:lastModifiedBy>Рябенко Александр Евгеньевич</cp:lastModifiedBy>
  <cp:revision>506</cp:revision>
  <cp:lastPrinted>2019-05-20T07:58:10Z</cp:lastPrinted>
  <dcterms:created xsi:type="dcterms:W3CDTF">2016-11-30T11:04:57Z</dcterms:created>
  <dcterms:modified xsi:type="dcterms:W3CDTF">2022-07-08T14:40:12Z</dcterms:modified>
  <cp:contentStatus>Не начат</cp:contentStatus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4390B5119B6941B150DE42451ACB3F</vt:lpwstr>
  </property>
  <property fmtid="{D5CDD505-2E9C-101B-9397-08002B2CF9AE}" pid="3" name="_dlc_DocIdItemGuid">
    <vt:lpwstr>3ae3e610-99d2-4339-b68b-33b35779ecf3</vt:lpwstr>
  </property>
  <property fmtid="{D5CDD505-2E9C-101B-9397-08002B2CF9AE}" pid="4" name="Расположение документа">
    <vt:lpwstr>41;#Протокол|829855cd-6b6c-411b-9ea5-46ce4c456232</vt:lpwstr>
  </property>
  <property fmtid="{D5CDD505-2E9C-101B-9397-08002B2CF9AE}" pid="5" name="TaxCatchAll">
    <vt:lpwstr>41;#Протокол|829855cd-6b6c-411b-9ea5-46ce4c456232</vt:lpwstr>
  </property>
  <property fmtid="{D5CDD505-2E9C-101B-9397-08002B2CF9AE}" pid="6" name="Расположение документаTaxHTField0">
    <vt:lpwstr>Протокол|829855cd-6b6c-411b-9ea5-46ce4c456232</vt:lpwstr>
  </property>
</Properties>
</file>